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3" r:id="rId2"/>
    <p:sldMasterId id="2147483668" r:id="rId3"/>
  </p:sldMasterIdLst>
  <p:notesMasterIdLst>
    <p:notesMasterId r:id="rId5"/>
  </p:notesMasterIdLst>
  <p:sldIdLst>
    <p:sldId id="2147474734" r:id="rId4"/>
  </p:sldIdLst>
  <p:sldSz cx="12192000" cy="6858000"/>
  <p:notesSz cx="9926638" cy="1435576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  <a:srgbClr val="FFFFFF"/>
    <a:srgbClr val="E8D0D0"/>
    <a:srgbClr val="FCECE8"/>
    <a:srgbClr val="F8D7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017" autoAdjust="0"/>
    <p:restoredTop sz="93792" autoAdjust="0"/>
  </p:normalViewPr>
  <p:slideViewPr>
    <p:cSldViewPr snapToGrid="0">
      <p:cViewPr varScale="1">
        <p:scale>
          <a:sx n="67" d="100"/>
          <a:sy n="67" d="100"/>
        </p:scale>
        <p:origin x="756" y="44"/>
      </p:cViewPr>
      <p:guideLst/>
    </p:cSldViewPr>
  </p:slideViewPr>
  <p:notesTextViewPr>
    <p:cViewPr>
      <p:scale>
        <a:sx n="300" d="100"/>
        <a:sy n="3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720282"/>
          </a:xfrm>
          <a:prstGeom prst="rect">
            <a:avLst/>
          </a:prstGeom>
        </p:spPr>
        <p:txBody>
          <a:bodyPr vert="horz" lIns="132762" tIns="66381" rIns="132762" bIns="66381" rtlCol="0"/>
          <a:lstStyle>
            <a:lvl1pPr algn="l">
              <a:defRPr sz="17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2799" y="0"/>
            <a:ext cx="4301543" cy="720282"/>
          </a:xfrm>
          <a:prstGeom prst="rect">
            <a:avLst/>
          </a:prstGeom>
        </p:spPr>
        <p:txBody>
          <a:bodyPr vert="horz" lIns="132762" tIns="66381" rIns="132762" bIns="66381" rtlCol="0"/>
          <a:lstStyle>
            <a:lvl1pPr algn="r">
              <a:defRPr sz="1700"/>
            </a:lvl1pPr>
          </a:lstStyle>
          <a:p>
            <a:fld id="{7B641021-244B-446D-83C9-1E7FBCD2292B}" type="datetimeFigureOut">
              <a:rPr lang="en-GB" smtClean="0"/>
              <a:t>02/11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57225" y="1795463"/>
            <a:ext cx="8612188" cy="48434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2762" tIns="66381" rIns="132762" bIns="66381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2665" y="6908710"/>
            <a:ext cx="7941310" cy="5652582"/>
          </a:xfrm>
          <a:prstGeom prst="rect">
            <a:avLst/>
          </a:prstGeom>
        </p:spPr>
        <p:txBody>
          <a:bodyPr vert="horz" lIns="132762" tIns="66381" rIns="132762" bIns="66381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13635485"/>
            <a:ext cx="4301543" cy="720280"/>
          </a:xfrm>
          <a:prstGeom prst="rect">
            <a:avLst/>
          </a:prstGeom>
        </p:spPr>
        <p:txBody>
          <a:bodyPr vert="horz" lIns="132762" tIns="66381" rIns="132762" bIns="66381" rtlCol="0" anchor="b"/>
          <a:lstStyle>
            <a:lvl1pPr algn="l">
              <a:defRPr sz="17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2799" y="13635485"/>
            <a:ext cx="4301543" cy="720280"/>
          </a:xfrm>
          <a:prstGeom prst="rect">
            <a:avLst/>
          </a:prstGeom>
        </p:spPr>
        <p:txBody>
          <a:bodyPr vert="horz" lIns="132762" tIns="66381" rIns="132762" bIns="66381" rtlCol="0" anchor="b"/>
          <a:lstStyle>
            <a:lvl1pPr algn="r">
              <a:defRPr sz="1700"/>
            </a:lvl1pPr>
          </a:lstStyle>
          <a:p>
            <a:fld id="{8175DFF1-E7D9-45BB-A149-FDABA497F84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77947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47F355-2DC5-4E9D-B721-58C65874F4C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563537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8EA3E02-3AA7-43E4-908A-CAD5542AD01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5043212"/>
            <a:ext cx="9144000" cy="671788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7" name="Picture 16">
            <a:extLst>
              <a:ext uri="{FF2B5EF4-FFF2-40B4-BE49-F238E27FC236}">
                <a16:creationId xmlns:a16="http://schemas.microsoft.com/office/drawing/2014/main" id="{BDB3E4D3-6A5B-4E37-A7B4-A6EFC051351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9265" y="20856"/>
            <a:ext cx="1193470" cy="1026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0CCF3FA-B961-4D03-82E9-CAA3158DB5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43253" y="6425924"/>
            <a:ext cx="573157" cy="352563"/>
          </a:xfrm>
          <a:prstGeom prst="rect">
            <a:avLst/>
          </a:prstGeom>
        </p:spPr>
        <p:txBody>
          <a:bodyPr/>
          <a:lstStyle>
            <a:lvl1pPr>
              <a:defRPr>
                <a:latin typeface="ChevinBold" panose="02000700000000000000" pitchFamily="2" charset="0"/>
              </a:defRPr>
            </a:lvl1pPr>
          </a:lstStyle>
          <a:p>
            <a:fld id="{DC0EE8EF-0F8F-41BF-B966-3FB1E5BF7E8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07053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26122827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6400" y="1285875"/>
            <a:ext cx="5588000" cy="4327525"/>
          </a:xfrm>
        </p:spPr>
        <p:txBody>
          <a:bodyPr/>
          <a:lstStyle>
            <a:lvl1pPr>
              <a:buClr>
                <a:srgbClr val="DA202A"/>
              </a:buClr>
              <a:defRPr sz="2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2000">
                <a:solidFill>
                  <a:srgbClr val="DA202A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285875"/>
            <a:ext cx="5588000" cy="4327525"/>
          </a:xfrm>
        </p:spPr>
        <p:txBody>
          <a:bodyPr/>
          <a:lstStyle>
            <a:lvl1pPr>
              <a:buClr>
                <a:srgbClr val="DA202A"/>
              </a:buClr>
              <a:defRPr sz="2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2000">
                <a:solidFill>
                  <a:srgbClr val="DA202A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20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05743922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09910837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31752" y="-38100"/>
            <a:ext cx="11256433" cy="68103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613834" y="1035050"/>
            <a:ext cx="5380567" cy="24701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197601" y="1035050"/>
            <a:ext cx="5380567" cy="24701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13834" y="3657600"/>
            <a:ext cx="5380567" cy="247173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7601" y="3657600"/>
            <a:ext cx="5380567" cy="247173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Rectangle 10">
            <a:extLst>
              <a:ext uri="{FF2B5EF4-FFF2-40B4-BE49-F238E27FC236}">
                <a16:creationId xmlns:a16="http://schemas.microsoft.com/office/drawing/2014/main" id="{5ED20C16-5692-4DA1-AC8A-33B956177D69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9599085" y="6324600"/>
            <a:ext cx="2542116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71" tIns="45685" rIns="91371" bIns="45685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914400" rtl="0" eaLnBrk="1" latinLnBrk="0" hangingPunct="1"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B4C6EC-FC10-44B4-ABF6-5E930F8ED87F}" type="slidenum">
              <a:rPr lang="en-GB" altLang="en-US" smtClean="0"/>
              <a:pPr/>
              <a:t>‹#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298929218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00545248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2522933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1481157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05440557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81813115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40800" y="228600"/>
            <a:ext cx="2844800" cy="53848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06400" y="228600"/>
            <a:ext cx="8331200" cy="53848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2029824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A9C949-8761-4031-8DFA-E43DA474B2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43253" y="6425924"/>
            <a:ext cx="573157" cy="352563"/>
          </a:xfrm>
          <a:prstGeom prst="rect">
            <a:avLst/>
          </a:prstGeom>
        </p:spPr>
        <p:txBody>
          <a:bodyPr/>
          <a:lstStyle>
            <a:lvl1pPr>
              <a:defRPr>
                <a:latin typeface="ChevinBold" panose="02000700000000000000" pitchFamily="2" charset="0"/>
              </a:defRPr>
            </a:lvl1pPr>
          </a:lstStyle>
          <a:p>
            <a:fld id="{DC0EE8EF-0F8F-41BF-B966-3FB1E5BF7E83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16">
            <a:extLst>
              <a:ext uri="{FF2B5EF4-FFF2-40B4-BE49-F238E27FC236}">
                <a16:creationId xmlns:a16="http://schemas.microsoft.com/office/drawing/2014/main" id="{BE681499-7F29-4B80-97C7-140BE3A6A6E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40" y="0"/>
            <a:ext cx="773360" cy="664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9C17F65-06BC-4E85-A3F0-D69F12AB51A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0562" y="79196"/>
            <a:ext cx="10810875" cy="785813"/>
          </a:xfrm>
        </p:spPr>
        <p:txBody>
          <a:bodyPr>
            <a:normAutofit/>
          </a:bodyPr>
          <a:lstStyle>
            <a:lvl1pPr>
              <a:defRPr sz="3600">
                <a:solidFill>
                  <a:srgbClr val="C00000"/>
                </a:solidFill>
                <a:latin typeface="ChevinBold" panose="02000700000000000000" pitchFamily="2" charset="0"/>
              </a:defRPr>
            </a:lvl1pPr>
            <a:lvl2pPr marL="457200" indent="0">
              <a:buNone/>
              <a:defRPr sz="3200">
                <a:solidFill>
                  <a:srgbClr val="C00000"/>
                </a:solidFill>
                <a:latin typeface="ChevinBold" panose="02000700000000000000" pitchFamily="2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endParaRPr lang="en-GB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40BD153-FFD8-4897-91CC-EDE0807FA58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7675" y="1110893"/>
            <a:ext cx="11568113" cy="4914900"/>
          </a:xfrm>
        </p:spPr>
        <p:txBody>
          <a:bodyPr/>
          <a:lstStyle>
            <a:lvl2pPr>
              <a:buClr>
                <a:srgbClr val="C00000"/>
              </a:buClr>
              <a:defRPr>
                <a:latin typeface="ChevinLight" panose="02000300000000000000" pitchFamily="2" charset="0"/>
              </a:defRPr>
            </a:lvl2pPr>
            <a:lvl3pPr>
              <a:buClr>
                <a:srgbClr val="C00000"/>
              </a:buClr>
              <a:defRPr>
                <a:latin typeface="ChevinLight" panose="02000300000000000000" pitchFamily="2" charset="0"/>
              </a:defRPr>
            </a:lvl3pPr>
            <a:lvl4pPr>
              <a:buClr>
                <a:srgbClr val="C00000"/>
              </a:buClr>
              <a:defRPr>
                <a:latin typeface="ChevinLight" panose="02000300000000000000" pitchFamily="2" charset="0"/>
              </a:defRPr>
            </a:lvl4pPr>
            <a:lvl5pPr>
              <a:buClr>
                <a:srgbClr val="C00000"/>
              </a:buClr>
              <a:defRPr>
                <a:latin typeface="ChevinLight" panose="02000300000000000000" pitchFamily="2" charset="0"/>
              </a:defRPr>
            </a:lvl5pPr>
          </a:lstStyle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47370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400" y="228600"/>
            <a:ext cx="11379200" cy="914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06400" y="1285875"/>
            <a:ext cx="11379200" cy="4327525"/>
          </a:xfrm>
        </p:spPr>
        <p:txBody>
          <a:bodyPr/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84784672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881254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533"/>
            </a:lvl1pPr>
            <a:lvl2pPr>
              <a:defRPr sz="2533"/>
            </a:lvl2pPr>
            <a:lvl3pPr>
              <a:defRPr sz="2533"/>
            </a:lvl3pPr>
            <a:lvl4pPr>
              <a:defRPr sz="2533"/>
            </a:lvl4pPr>
            <a:lvl5pPr>
              <a:defRPr sz="25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0591646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6175" y="2227165"/>
            <a:ext cx="8756240" cy="15271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533" b="0">
                <a:solidFill>
                  <a:schemeClr val="tx1"/>
                </a:solidFill>
                <a:latin typeface="ChevinBold" pitchFamily="2" charset="0"/>
              </a:defRPr>
            </a:lvl1pPr>
            <a:lvl2pPr marL="4827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65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48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308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13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96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790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617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TextBox 3" descr="CONFIDENTIAL_TAG_0xFFEE"/>
          <p:cNvSpPr txBox="1"/>
          <p:nvPr userDrawn="1"/>
        </p:nvSpPr>
        <p:spPr>
          <a:xfrm>
            <a:off x="441986" y="6396537"/>
            <a:ext cx="4253121" cy="302634"/>
          </a:xfrm>
          <a:prstGeom prst="rect">
            <a:avLst/>
          </a:prstGeom>
          <a:noFill/>
        </p:spPr>
        <p:txBody>
          <a:bodyPr vert="horz" lIns="96555" tIns="48285" rIns="96555" bIns="48285" rtlCol="0">
            <a:spAutoFit/>
          </a:bodyPr>
          <a:lstStyle/>
          <a:p>
            <a:pPr defTabSz="965359"/>
            <a:endParaRPr lang="en-US" sz="1333" dirty="0">
              <a:solidFill>
                <a:srgbClr val="EEECE1"/>
              </a:solidFill>
              <a:latin typeface="Arial"/>
            </a:endParaRPr>
          </a:p>
        </p:txBody>
      </p:sp>
      <p:grpSp>
        <p:nvGrpSpPr>
          <p:cNvPr id="5" name="Group 4"/>
          <p:cNvGrpSpPr>
            <a:grpSpLocks/>
          </p:cNvGrpSpPr>
          <p:nvPr userDrawn="1"/>
        </p:nvGrpSpPr>
        <p:grpSpPr bwMode="auto">
          <a:xfrm>
            <a:off x="4884617" y="6508827"/>
            <a:ext cx="2420848" cy="322325"/>
            <a:chOff x="4348" y="215"/>
            <a:chExt cx="1145" cy="145"/>
          </a:xfrm>
        </p:grpSpPr>
        <p:pic>
          <p:nvPicPr>
            <p:cNvPr id="8" name="Picture 5" descr="RMGlogo_red_copy"/>
            <p:cNvPicPr>
              <a:picLocks noChangeAspect="1" noChangeArrowheads="1"/>
            </p:cNvPicPr>
            <p:nvPr userDrawn="1"/>
          </p:nvPicPr>
          <p:blipFill>
            <a:blip r:embed="rId2" cstate="print">
              <a:lum bright="-24000" contrast="48000"/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48" y="215"/>
              <a:ext cx="1145" cy="14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</p:pic>
        <p:pic>
          <p:nvPicPr>
            <p:cNvPr id="9" name="Picture 6" descr="RMGlogo_red_copy"/>
            <p:cNvPicPr>
              <a:picLocks noChangeAspect="1" noChangeArrowheads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hidden">
            <a:xfrm>
              <a:off x="4348" y="216"/>
              <a:ext cx="1145" cy="14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</p:pic>
      </p:grpSp>
      <p:sp>
        <p:nvSpPr>
          <p:cNvPr id="10" name="Line 8"/>
          <p:cNvSpPr>
            <a:spLocks noChangeShapeType="1"/>
          </p:cNvSpPr>
          <p:nvPr userDrawn="1"/>
        </p:nvSpPr>
        <p:spPr bwMode="auto">
          <a:xfrm>
            <a:off x="3908" y="6381751"/>
            <a:ext cx="12192000" cy="0"/>
          </a:xfrm>
          <a:prstGeom prst="line">
            <a:avLst/>
          </a:prstGeom>
          <a:noFill/>
          <a:ln w="57150">
            <a:solidFill>
              <a:srgbClr val="EC111B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6548" tIns="48280" rIns="96548" bIns="48280"/>
          <a:lstStyle/>
          <a:p>
            <a:pPr defTabSz="965359"/>
            <a:endParaRPr lang="en-GB" sz="1867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6175" y="1219015"/>
            <a:ext cx="8756240" cy="944564"/>
          </a:xfrm>
        </p:spPr>
        <p:txBody>
          <a:bodyPr/>
          <a:lstStyle>
            <a:lvl1pPr>
              <a:defRPr sz="3867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3155578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3188" y="340904"/>
            <a:ext cx="11289632" cy="925549"/>
          </a:xfrm>
        </p:spPr>
        <p:txBody>
          <a:bodyPr anchor="t">
            <a:normAutofit/>
          </a:bodyPr>
          <a:lstStyle>
            <a:lvl1pPr>
              <a:defRPr sz="32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53188" y="1347543"/>
            <a:ext cx="11289632" cy="438084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501651" y="6248443"/>
            <a:ext cx="2743200" cy="365124"/>
          </a:xfrm>
          <a:prstGeom prst="rect">
            <a:avLst/>
          </a:prstGeom>
        </p:spPr>
        <p:txBody>
          <a:bodyPr lIns="72411" tIns="36210" rIns="72411" bIns="36210"/>
          <a:lstStyle>
            <a:lvl1pPr>
              <a:defRPr/>
            </a:lvl1pPr>
          </a:lstStyle>
          <a:p>
            <a:pPr defTabSz="965359">
              <a:defRPr/>
            </a:pPr>
            <a:r>
              <a:rPr lang="en-GB" sz="1867" dirty="0">
                <a:solidFill>
                  <a:prstClr val="black"/>
                </a:solidFill>
              </a:rPr>
              <a:t>Page </a:t>
            </a:r>
            <a:fld id="{E4814377-7E95-4286-B2E0-BC5831D589CA}" type="slidenum">
              <a:rPr lang="en-GB" sz="1867" smtClean="0">
                <a:solidFill>
                  <a:prstClr val="black"/>
                </a:solidFill>
              </a:rPr>
              <a:pPr defTabSz="965359">
                <a:defRPr/>
              </a:pPr>
              <a:t>‹#›</a:t>
            </a:fld>
            <a:r>
              <a:rPr lang="en-GB" sz="1867" dirty="0">
                <a:solidFill>
                  <a:prstClr val="black"/>
                </a:solidFill>
              </a:rPr>
              <a:t> of 31</a:t>
            </a:r>
          </a:p>
        </p:txBody>
      </p:sp>
    </p:spTree>
    <p:extLst>
      <p:ext uri="{BB962C8B-B14F-4D97-AF65-F5344CB8AC3E}">
        <p14:creationId xmlns:p14="http://schemas.microsoft.com/office/powerpoint/2010/main" val="4180816000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F47B6C43-DC2F-49F0-AEAD-E679B0CA88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b="7191"/>
          <a:stretch/>
        </p:blipFill>
        <p:spPr>
          <a:xfrm>
            <a:off x="375498" y="358140"/>
            <a:ext cx="656572" cy="65024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1121539" y="352396"/>
            <a:ext cx="10714863" cy="336000"/>
          </a:xfrm>
          <a:prstGeom prst="rect">
            <a:avLst/>
          </a:prstGeom>
        </p:spPr>
        <p:txBody>
          <a:bodyPr lIns="36000" rIns="0" anchor="ctr"/>
          <a:lstStyle>
            <a:lvl1pPr>
              <a:defRPr sz="2667" b="1" cap="none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 bwMode="auto">
          <a:xfrm>
            <a:off x="1121835" y="688396"/>
            <a:ext cx="10714567" cy="340304"/>
          </a:xfrm>
          <a:prstGeom prst="rect">
            <a:avLst/>
          </a:prstGeom>
        </p:spPr>
        <p:txBody>
          <a:bodyPr lIns="54000" anchor="ctr"/>
          <a:lstStyle>
            <a:lvl1pPr>
              <a:defRPr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2F6FD5D5-02CF-4643-A32E-496C631903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36400" y="6612720"/>
            <a:ext cx="355600" cy="22128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146E05-E689-4835-AC69-1B6CBBB55E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3776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1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C01805BF-077C-4FA6-9D33-DE37B6FF09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b="7191"/>
          <a:stretch/>
        </p:blipFill>
        <p:spPr>
          <a:xfrm>
            <a:off x="156423" y="120015"/>
            <a:ext cx="656572" cy="650240"/>
          </a:xfrm>
          <a:prstGeom prst="rect">
            <a:avLst/>
          </a:prstGeom>
        </p:spPr>
      </p:pic>
      <p:sp>
        <p:nvSpPr>
          <p:cNvPr id="5" name="Slide Number Placeholder 1">
            <a:extLst>
              <a:ext uri="{FF2B5EF4-FFF2-40B4-BE49-F238E27FC236}">
                <a16:creationId xmlns:a16="http://schemas.microsoft.com/office/drawing/2014/main" id="{D28D51CB-EB94-4197-B18D-8D2991388B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36400" y="6612720"/>
            <a:ext cx="355600" cy="22128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146E05-E689-4835-AC69-1B6CBBB55E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74981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65" descr="Image result for royal mail group logo">
            <a:extLst>
              <a:ext uri="{FF2B5EF4-FFF2-40B4-BE49-F238E27FC236}">
                <a16:creationId xmlns:a16="http://schemas.microsoft.com/office/drawing/2014/main" id="{1C71A80E-46A3-4FEB-BD84-91249A9FAD7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764" y="1490731"/>
            <a:ext cx="4429760" cy="5583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10">
            <a:extLst>
              <a:ext uri="{FF2B5EF4-FFF2-40B4-BE49-F238E27FC236}">
                <a16:creationId xmlns:a16="http://schemas.microsoft.com/office/drawing/2014/main" id="{8679CE3A-7CEC-46AF-8484-9797997F0C0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228680" y="2"/>
            <a:ext cx="1734640" cy="3097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>
            <a:lvl1pPr>
              <a:defRPr>
                <a:solidFill>
                  <a:schemeClr val="tx1"/>
                </a:solidFill>
                <a:latin typeface="ChevinLight" pitchFamily="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hevinLight" pitchFamily="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hevinLight" pitchFamily="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hevinLight" pitchFamily="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hevinLight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</a:defRPr>
            </a:lvl9pPr>
          </a:lstStyle>
          <a:p>
            <a:pPr algn="ctr">
              <a:defRPr/>
            </a:pPr>
            <a:r>
              <a:rPr lang="en-GB" sz="1333" b="1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RICTLY CONFIDENTIAL</a:t>
            </a:r>
          </a:p>
        </p:txBody>
      </p:sp>
      <p:sp>
        <p:nvSpPr>
          <p:cNvPr id="5" name="Slide Number Placeholder 1">
            <a:extLst>
              <a:ext uri="{FF2B5EF4-FFF2-40B4-BE49-F238E27FC236}">
                <a16:creationId xmlns:a16="http://schemas.microsoft.com/office/drawing/2014/main" id="{6B31B022-0091-4770-A36B-D7D3D5F8B1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36400" y="6612720"/>
            <a:ext cx="355600" cy="22128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146E05-E689-4835-AC69-1B6CBBB55E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9964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9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65" descr="Image result for royal mail group logo">
            <a:extLst>
              <a:ext uri="{FF2B5EF4-FFF2-40B4-BE49-F238E27FC236}">
                <a16:creationId xmlns:a16="http://schemas.microsoft.com/office/drawing/2014/main" id="{1C71A80E-46A3-4FEB-BD84-91249A9FAD7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764" y="1490731"/>
            <a:ext cx="4429760" cy="5583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10">
            <a:extLst>
              <a:ext uri="{FF2B5EF4-FFF2-40B4-BE49-F238E27FC236}">
                <a16:creationId xmlns:a16="http://schemas.microsoft.com/office/drawing/2014/main" id="{8679CE3A-7CEC-46AF-8484-9797997F0C0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228680" y="2"/>
            <a:ext cx="1734640" cy="3097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>
            <a:lvl1pPr>
              <a:defRPr>
                <a:solidFill>
                  <a:schemeClr val="tx1"/>
                </a:solidFill>
                <a:latin typeface="ChevinLight" pitchFamily="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hevinLight" pitchFamily="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hevinLight" pitchFamily="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hevinLight" pitchFamily="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hevinLight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hevinLight" pitchFamily="2" charset="0"/>
              </a:defRPr>
            </a:lvl9pPr>
          </a:lstStyle>
          <a:p>
            <a:pPr algn="ctr">
              <a:defRPr/>
            </a:pPr>
            <a:r>
              <a:rPr lang="en-GB" sz="1333" b="1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RICTLY CONFIDENTIAL</a:t>
            </a:r>
          </a:p>
        </p:txBody>
      </p:sp>
      <p:sp>
        <p:nvSpPr>
          <p:cNvPr id="5" name="Slide Number Placeholder 1">
            <a:extLst>
              <a:ext uri="{FF2B5EF4-FFF2-40B4-BE49-F238E27FC236}">
                <a16:creationId xmlns:a16="http://schemas.microsoft.com/office/drawing/2014/main" id="{94BEB0E8-28D4-4871-8F91-B8B6C85CA7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36400" y="6612720"/>
            <a:ext cx="355600" cy="22128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146E05-E689-4835-AC69-1B6CBBB55E6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28846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6175" y="2227165"/>
            <a:ext cx="8756240" cy="15271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2533" b="0">
                <a:solidFill>
                  <a:schemeClr val="tx1"/>
                </a:solidFill>
                <a:latin typeface="ChevinBold" pitchFamily="2" charset="0"/>
              </a:defRPr>
            </a:lvl1pPr>
            <a:lvl2pPr marL="4827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65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48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308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13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963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790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617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TextBox 3" descr="CONFIDENTIAL_TAG_0xFFEE"/>
          <p:cNvSpPr txBox="1"/>
          <p:nvPr userDrawn="1"/>
        </p:nvSpPr>
        <p:spPr>
          <a:xfrm>
            <a:off x="441986" y="6396537"/>
            <a:ext cx="4253121" cy="302634"/>
          </a:xfrm>
          <a:prstGeom prst="rect">
            <a:avLst/>
          </a:prstGeom>
          <a:noFill/>
        </p:spPr>
        <p:txBody>
          <a:bodyPr vert="horz" lIns="96555" tIns="48285" rIns="96555" bIns="48285" rtlCol="0">
            <a:spAutoFit/>
          </a:bodyPr>
          <a:lstStyle/>
          <a:p>
            <a:pPr defTabSz="965359"/>
            <a:endParaRPr lang="en-US" sz="1333" dirty="0">
              <a:solidFill>
                <a:srgbClr val="EEECE1"/>
              </a:solidFill>
              <a:latin typeface="Arial"/>
            </a:endParaRPr>
          </a:p>
        </p:txBody>
      </p:sp>
      <p:sp>
        <p:nvSpPr>
          <p:cNvPr id="10" name="Line 8"/>
          <p:cNvSpPr>
            <a:spLocks noChangeShapeType="1"/>
          </p:cNvSpPr>
          <p:nvPr userDrawn="1"/>
        </p:nvSpPr>
        <p:spPr bwMode="auto">
          <a:xfrm>
            <a:off x="3908" y="6381751"/>
            <a:ext cx="12192000" cy="0"/>
          </a:xfrm>
          <a:prstGeom prst="line">
            <a:avLst/>
          </a:prstGeom>
          <a:noFill/>
          <a:ln w="57150">
            <a:solidFill>
              <a:srgbClr val="EC111B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6548" tIns="48280" rIns="96548" bIns="48280"/>
          <a:lstStyle/>
          <a:p>
            <a:pPr defTabSz="965359"/>
            <a:endParaRPr lang="en-GB" sz="1867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6175" y="1219015"/>
            <a:ext cx="8756240" cy="944564"/>
          </a:xfrm>
        </p:spPr>
        <p:txBody>
          <a:bodyPr/>
          <a:lstStyle>
            <a:lvl1pPr>
              <a:defRPr sz="3867">
                <a:solidFill>
                  <a:srgbClr val="DA202A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5E1B0F4-70D2-47A1-A822-5CDC5A8953F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97270" y="6414064"/>
            <a:ext cx="597460" cy="402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334510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5018" y="950019"/>
            <a:ext cx="10363200" cy="1470025"/>
          </a:xfrm>
        </p:spPr>
        <p:txBody>
          <a:bodyPr/>
          <a:lstStyle>
            <a:lvl1pPr>
              <a:defRPr>
                <a:solidFill>
                  <a:srgbClr val="DA202A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5018" y="2489661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25026826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DA202A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Clr>
                <a:srgbClr val="DA202A"/>
              </a:buClr>
              <a:buFont typeface="Arial" panose="020B0604020202020204" pitchFamily="34" charset="0"/>
              <a:buNone/>
              <a:defRPr>
                <a:solidFill>
                  <a:srgbClr val="DA202A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62656914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5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2.xml"/><Relationship Id="rId10" Type="http://schemas.openxmlformats.org/officeDocument/2006/relationships/image" Target="../media/image4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3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image" Target="../media/image7.png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16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50DDD00-F5C8-41EF-9037-2CA0A18D1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25620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A4DACB2-0833-4871-8986-AF8F7F8EC9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4681332"/>
            <a:ext cx="10515600" cy="14956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MSIPCMContentMarking" descr="{&quot;HashCode&quot;:-685326706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C589DFE4-14B3-4D65-A840-52A884FA27AC}"/>
              </a:ext>
            </a:extLst>
          </p:cNvPr>
          <p:cNvSpPr txBox="1"/>
          <p:nvPr userDrawn="1"/>
        </p:nvSpPr>
        <p:spPr>
          <a:xfrm>
            <a:off x="0" y="6595656"/>
            <a:ext cx="1631108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</a:rPr>
              <a:t>Classified: RMG – Internal</a:t>
            </a:r>
          </a:p>
        </p:txBody>
      </p:sp>
      <p:sp>
        <p:nvSpPr>
          <p:cNvPr id="9" name="TextBox 8" descr="CONFIDENTIAL_TAG_0xFFEE">
            <a:extLst>
              <a:ext uri="{FF2B5EF4-FFF2-40B4-BE49-F238E27FC236}">
                <a16:creationId xmlns:a16="http://schemas.microsoft.com/office/drawing/2014/main" id="{4B6AE88C-56B8-443E-88E6-6223E35607FA}"/>
              </a:ext>
            </a:extLst>
          </p:cNvPr>
          <p:cNvSpPr txBox="1"/>
          <p:nvPr userDrawn="1"/>
        </p:nvSpPr>
        <p:spPr>
          <a:xfrm>
            <a:off x="441986" y="6396537"/>
            <a:ext cx="4253121" cy="302634"/>
          </a:xfrm>
          <a:prstGeom prst="rect">
            <a:avLst/>
          </a:prstGeom>
          <a:noFill/>
        </p:spPr>
        <p:txBody>
          <a:bodyPr vert="horz" lIns="96555" tIns="48285" rIns="96555" bIns="48285" rtlCol="0">
            <a:spAutoFit/>
          </a:bodyPr>
          <a:lstStyle/>
          <a:p>
            <a:pPr defTabSz="965359"/>
            <a:endParaRPr lang="en-US" sz="1333" dirty="0">
              <a:solidFill>
                <a:srgbClr val="EEECE1"/>
              </a:solidFill>
              <a:latin typeface="Arial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82C9627-73F5-45FF-B065-465A73BDC58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797270" y="6414064"/>
            <a:ext cx="597460" cy="402371"/>
          </a:xfrm>
          <a:prstGeom prst="rect">
            <a:avLst/>
          </a:prstGeom>
        </p:spPr>
      </p:pic>
      <p:sp>
        <p:nvSpPr>
          <p:cNvPr id="12" name="Line 8">
            <a:extLst>
              <a:ext uri="{FF2B5EF4-FFF2-40B4-BE49-F238E27FC236}">
                <a16:creationId xmlns:a16="http://schemas.microsoft.com/office/drawing/2014/main" id="{1296567D-C6B0-46AE-91BA-FED2386A5CA9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3908" y="6381751"/>
            <a:ext cx="12192000" cy="0"/>
          </a:xfrm>
          <a:prstGeom prst="line">
            <a:avLst/>
          </a:prstGeom>
          <a:noFill/>
          <a:ln w="57150">
            <a:solidFill>
              <a:srgbClr val="EC111B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6548" tIns="48280" rIns="96548" bIns="48280"/>
          <a:lstStyle/>
          <a:p>
            <a:pPr defTabSz="965359"/>
            <a:endParaRPr lang="en-GB" sz="1867" dirty="0">
              <a:solidFill>
                <a:prstClr val="black"/>
              </a:solidFill>
            </a:endParaRP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5153F563-4A1C-4C3C-ABCA-3B0A7B1349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43253" y="6425924"/>
            <a:ext cx="573157" cy="352563"/>
          </a:xfrm>
          <a:prstGeom prst="rect">
            <a:avLst/>
          </a:prstGeom>
        </p:spPr>
        <p:txBody>
          <a:bodyPr/>
          <a:lstStyle>
            <a:lvl1pPr>
              <a:defRPr>
                <a:latin typeface="ChevinBold" panose="02000700000000000000" pitchFamily="2" charset="0"/>
              </a:defRPr>
            </a:lvl1pPr>
          </a:lstStyle>
          <a:p>
            <a:fld id="{DC0EE8EF-0F8F-41BF-B966-3FB1E5BF7E83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42009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5400" kern="1200">
          <a:solidFill>
            <a:srgbClr val="C00000"/>
          </a:solidFill>
          <a:latin typeface="ChevinBold" panose="02000700000000000000" pitchFamily="2" charset="0"/>
          <a:ea typeface="+mj-ea"/>
          <a:cs typeface="+mj-cs"/>
        </a:defRPr>
      </a:lvl1pPr>
    </p:titleStyle>
    <p:bodyStyle>
      <a:lvl1pPr marL="0" indent="0" algn="ctr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kern="1200">
          <a:solidFill>
            <a:schemeClr val="tx1"/>
          </a:solidFill>
          <a:latin typeface="ChevinLight" panose="02000300000000000000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"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Line 8">
            <a:extLst>
              <a:ext uri="{FF2B5EF4-FFF2-40B4-BE49-F238E27FC236}">
                <a16:creationId xmlns:a16="http://schemas.microsoft.com/office/drawing/2014/main" id="{7E89078D-62A9-4355-B0D0-6EF98DA6605D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0" y="6569267"/>
            <a:ext cx="12192000" cy="0"/>
          </a:xfrm>
          <a:prstGeom prst="line">
            <a:avLst/>
          </a:prstGeom>
          <a:noFill/>
          <a:ln w="38100">
            <a:solidFill>
              <a:srgbClr val="EC111B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sz="2400"/>
          </a:p>
        </p:txBody>
      </p:sp>
      <p:pic>
        <p:nvPicPr>
          <p:cNvPr id="1415" name="Picture 391" descr="Image result for royal mail group">
            <a:extLst>
              <a:ext uri="{FF2B5EF4-FFF2-40B4-BE49-F238E27FC236}">
                <a16:creationId xmlns:a16="http://schemas.microsoft.com/office/drawing/2014/main" id="{8ACCB781-A265-48EC-8004-C788968068F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147" b="41176"/>
          <a:stretch/>
        </p:blipFill>
        <p:spPr bwMode="auto">
          <a:xfrm>
            <a:off x="10560553" y="6636715"/>
            <a:ext cx="1208628" cy="173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6B9C157-0723-4FB2-B7C9-A4AD62476F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36400" y="6612720"/>
            <a:ext cx="355600" cy="22128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6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146E05-E689-4835-AC69-1B6CBBB55E6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MSIPCMContentMarking" descr="{&quot;HashCode&quot;:-685326706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00DE475C-EEDE-49F7-B35B-34F510D34A89}"/>
              </a:ext>
            </a:extLst>
          </p:cNvPr>
          <p:cNvSpPr txBox="1"/>
          <p:nvPr userDrawn="1"/>
        </p:nvSpPr>
        <p:spPr>
          <a:xfrm>
            <a:off x="0" y="6595656"/>
            <a:ext cx="1631108" cy="262344"/>
          </a:xfrm>
          <a:prstGeom prst="rect">
            <a:avLst/>
          </a:prstGeom>
        </p:spPr>
        <p:txBody>
          <a:bodyPr vert="horz" wrap="square" lIns="0" tIns="0" rIns="0" bIns="0" rtlCol="0" anchor="ctr" anchorCtr="1">
            <a:no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ed: RMG – Internal</a:t>
            </a:r>
            <a:endParaRPr lang="en-GB" sz="1000" err="1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9628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</p:sldLayoutIdLst>
  <p:hf hdr="0" ftr="0" dt="0"/>
  <p:txStyles>
    <p:titleStyle>
      <a:lvl1pPr algn="l" defTabSz="1734634" rtl="0" eaLnBrk="1" latinLnBrk="0" hangingPunct="1">
        <a:lnSpc>
          <a:spcPct val="80000"/>
        </a:lnSpc>
        <a:spcBef>
          <a:spcPct val="0"/>
        </a:spcBef>
        <a:buNone/>
        <a:defRPr sz="3200" b="0" i="0" kern="1200" cap="all" spc="-133" baseline="0">
          <a:solidFill>
            <a:schemeClr val="tx1"/>
          </a:solidFill>
          <a:latin typeface="Arial Black" charset="0"/>
          <a:ea typeface="Arial Black" charset="0"/>
          <a:cs typeface="Arial Black" charset="0"/>
        </a:defRPr>
      </a:lvl1pPr>
    </p:titleStyle>
    <p:bodyStyle>
      <a:lvl1pPr marL="0" indent="0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2133" b="1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1pPr>
      <a:lvl2pPr marL="0" indent="0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2133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2pPr>
      <a:lvl3pPr marL="192613" indent="-192613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tabLst/>
        <a:defRPr sz="2133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3pPr>
      <a:lvl4pPr marL="0" indent="0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2133" b="1" i="0" kern="1200" cap="none" baseline="0">
          <a:solidFill>
            <a:schemeClr val="tx2"/>
          </a:solidFill>
          <a:latin typeface="+mn-lt"/>
          <a:ea typeface="Arial Black" charset="0"/>
          <a:cs typeface="Arial Black" charset="0"/>
        </a:defRPr>
      </a:lvl4pPr>
      <a:lvl5pPr marL="0" indent="0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2133" b="0" i="0" kern="1200" cap="none" baseline="0">
          <a:solidFill>
            <a:schemeClr val="tx2"/>
          </a:solidFill>
          <a:latin typeface="+mn-lt"/>
          <a:ea typeface="Arial Black" charset="0"/>
          <a:cs typeface="Arial Black" charset="0"/>
        </a:defRPr>
      </a:lvl5pPr>
      <a:lvl6pPr marL="228594" indent="-182029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tabLst/>
        <a:defRPr sz="2133" b="0" i="0" kern="1200" cap="none" baseline="0">
          <a:solidFill>
            <a:schemeClr val="tx2"/>
          </a:solidFill>
          <a:latin typeface="+mn-lt"/>
          <a:ea typeface="Arial Bold" charset="0"/>
          <a:cs typeface="Arial Bold" charset="0"/>
        </a:defRPr>
      </a:lvl6pPr>
      <a:lvl7pPr marL="0" indent="0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1867" b="1" i="0" kern="1200" cap="none" baseline="0">
          <a:solidFill>
            <a:schemeClr val="tx1"/>
          </a:solidFill>
          <a:latin typeface="+mn-lt"/>
          <a:ea typeface="Arial Bold" charset="0"/>
          <a:cs typeface="Arial Bold" charset="0"/>
        </a:defRPr>
      </a:lvl7pPr>
      <a:lvl8pPr marL="0" indent="0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None/>
        <a:defRPr sz="1867" b="0" i="0" kern="1200" cap="none" baseline="0">
          <a:solidFill>
            <a:schemeClr val="tx1"/>
          </a:solidFill>
          <a:latin typeface="+mn-lt"/>
          <a:ea typeface="Arial Bold" charset="0"/>
          <a:cs typeface="Arial Bold" charset="0"/>
        </a:defRPr>
      </a:lvl8pPr>
      <a:lvl9pPr marL="192613" indent="-192613" algn="l" defTabSz="1734634" rtl="0" eaLnBrk="1" latinLnBrk="0" hangingPunct="1">
        <a:lnSpc>
          <a:spcPct val="90000"/>
        </a:lnSpc>
        <a:spcBef>
          <a:spcPts val="800"/>
        </a:spcBef>
        <a:buFont typeface="Arial" charset="0"/>
        <a:buChar char="•"/>
        <a:tabLst/>
        <a:defRPr sz="1867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9pPr>
    </p:bodyStyle>
    <p:otherStyle>
      <a:defPPr>
        <a:defRPr lang="en-US"/>
      </a:defPPr>
      <a:lvl1pPr marL="0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1pPr>
      <a:lvl2pPr marL="867317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2pPr>
      <a:lvl3pPr marL="1734634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3pPr>
      <a:lvl4pPr marL="2601951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4pPr>
      <a:lvl5pPr marL="3469269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5pPr>
      <a:lvl6pPr marL="4336586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6pPr>
      <a:lvl7pPr marL="5203903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7pPr>
      <a:lvl8pPr marL="6071220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8pPr>
      <a:lvl9pPr marL="6938537" algn="l" defTabSz="1734634" rtl="0" eaLnBrk="1" latinLnBrk="0" hangingPunct="1">
        <a:defRPr sz="34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880">
          <p15:clr>
            <a:srgbClr val="F26B43"/>
          </p15:clr>
        </p15:guide>
        <p15:guide id="3" pos="163">
          <p15:clr>
            <a:srgbClr val="F26B43"/>
          </p15:clr>
        </p15:guide>
        <p15:guide id="4" pos="5592">
          <p15:clr>
            <a:srgbClr val="F26B43"/>
          </p15:clr>
        </p15:guide>
        <p15:guide id="5" orient="horz" pos="622">
          <p15:clr>
            <a:srgbClr val="F26B43"/>
          </p15:clr>
        </p15:guide>
        <p15:guide id="7" orient="horz" pos="156">
          <p15:clr>
            <a:srgbClr val="F26B43"/>
          </p15:clr>
        </p15:guide>
        <p15:guide id="9" orient="horz" pos="1847">
          <p15:clr>
            <a:srgbClr val="F26B43"/>
          </p15:clr>
        </p15:guide>
        <p15:guide id="11" orient="horz" pos="486">
          <p15:clr>
            <a:srgbClr val="F26B43"/>
          </p15:clr>
        </p15:guide>
        <p15:guide id="12" pos="2971">
          <p15:clr>
            <a:srgbClr val="F26B43"/>
          </p15:clr>
        </p15:guide>
        <p15:guide id="13" pos="2789">
          <p15:clr>
            <a:srgbClr val="F26B43"/>
          </p15:clr>
        </p15:guide>
        <p15:guide id="14" orient="horz" pos="298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>
            <a:extLst>
              <a:ext uri="{FF2B5EF4-FFF2-40B4-BE49-F238E27FC236}">
                <a16:creationId xmlns:a16="http://schemas.microsoft.com/office/drawing/2014/main" id="{7F77B345-8535-4D49-A41A-2C94D0DE933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06400" y="228600"/>
            <a:ext cx="113792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itle style</a:t>
            </a:r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4CE66FDF-CC83-48D4-BCEA-4CCC8539B9A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06400" y="1285875"/>
            <a:ext cx="11379200" cy="4327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/>
              <a:t>Click to edit Master text styles</a:t>
            </a:r>
          </a:p>
          <a:p>
            <a:pPr lvl="1"/>
            <a:r>
              <a:rPr lang="en-GB" altLang="en-US" dirty="0"/>
              <a:t>Second level</a:t>
            </a:r>
          </a:p>
          <a:p>
            <a:pPr lvl="2"/>
            <a:r>
              <a:rPr lang="en-GB" altLang="en-US" dirty="0"/>
              <a:t>Third level</a:t>
            </a:r>
          </a:p>
          <a:p>
            <a:pPr lvl="3"/>
            <a:r>
              <a:rPr lang="en-GB" altLang="en-US" dirty="0"/>
              <a:t>Fourth level</a:t>
            </a:r>
          </a:p>
          <a:p>
            <a:pPr lvl="4"/>
            <a:r>
              <a:rPr lang="en-GB" altLang="en-US" dirty="0"/>
              <a:t>Fifth level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F6C85E88-FF6C-4DB6-817A-3A64D467F381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772766" y="6542931"/>
            <a:ext cx="182742" cy="153888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GB" sz="1000" kern="1200" baseline="0" smtClean="0">
                <a:solidFill>
                  <a:schemeClr val="tx1"/>
                </a:solidFill>
                <a:latin typeface="ChevinLight" panose="02000300000000000000" pitchFamily="2" charset="0"/>
                <a:ea typeface="+mn-ea"/>
                <a:cs typeface="+mn-cs"/>
              </a:rPr>
              <a:pPr lvl="0" algn="r"/>
              <a:t>‹#›</a:t>
            </a:fld>
            <a:endParaRPr lang="en-GB" sz="1000" kern="1200" baseline="0" dirty="0">
              <a:solidFill>
                <a:schemeClr val="tx1"/>
              </a:solidFill>
              <a:latin typeface="ChevinLight" panose="02000300000000000000" pitchFamily="2" charset="0"/>
              <a:ea typeface="+mn-ea"/>
              <a:cs typeface="+mn-cs"/>
            </a:endParaRPr>
          </a:p>
        </p:txBody>
      </p:sp>
      <p:sp>
        <p:nvSpPr>
          <p:cNvPr id="16" name="Line 8">
            <a:extLst>
              <a:ext uri="{FF2B5EF4-FFF2-40B4-BE49-F238E27FC236}">
                <a16:creationId xmlns:a16="http://schemas.microsoft.com/office/drawing/2014/main" id="{7FA6D884-FE6C-45E4-9BBE-CD27CEC9F5ED}"/>
              </a:ext>
            </a:extLst>
          </p:cNvPr>
          <p:cNvSpPr>
            <a:spLocks noChangeShapeType="1"/>
          </p:cNvSpPr>
          <p:nvPr userDrawn="1"/>
        </p:nvSpPr>
        <p:spPr bwMode="ltGray">
          <a:xfrm>
            <a:off x="0" y="6381750"/>
            <a:ext cx="12192000" cy="0"/>
          </a:xfrm>
          <a:prstGeom prst="line">
            <a:avLst/>
          </a:prstGeom>
          <a:noFill/>
          <a:ln w="57150">
            <a:solidFill>
              <a:srgbClr val="EC111B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1"/>
            <a:endParaRPr lang="en-GB" sz="1800" dirty="0">
              <a:solidFill>
                <a:prstClr val="black"/>
              </a:solidFill>
              <a:latin typeface="Calibri" pitchFamily="34" charset="0"/>
              <a:ea typeface="+mn-ea"/>
              <a:cs typeface="Arial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D4F5FD2-5EDE-4B64-850A-EC0907BA4C21}"/>
              </a:ext>
            </a:extLst>
          </p:cNvPr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5798794" y="6416523"/>
            <a:ext cx="594411" cy="406704"/>
          </a:xfrm>
          <a:prstGeom prst="rect">
            <a:avLst/>
          </a:prstGeom>
        </p:spPr>
      </p:pic>
      <p:sp>
        <p:nvSpPr>
          <p:cNvPr id="3" name="MSIPCMContentMarking" descr="{&quot;HashCode&quot;:-685326706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59DD0425-B079-45A4-85F0-19A9DF1F5042}"/>
              </a:ext>
            </a:extLst>
          </p:cNvPr>
          <p:cNvSpPr txBox="1"/>
          <p:nvPr userDrawn="1"/>
        </p:nvSpPr>
        <p:spPr>
          <a:xfrm>
            <a:off x="0" y="6595656"/>
            <a:ext cx="1631108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000" dirty="0">
                <a:solidFill>
                  <a:srgbClr val="000000"/>
                </a:solidFill>
                <a:latin typeface="Calibri" panose="020F0502020204030204" pitchFamily="34" charset="0"/>
              </a:rPr>
              <a:t>Classified: RMG – Internal</a:t>
            </a:r>
          </a:p>
        </p:txBody>
      </p:sp>
    </p:spTree>
    <p:extLst>
      <p:ext uri="{BB962C8B-B14F-4D97-AF65-F5344CB8AC3E}">
        <p14:creationId xmlns:p14="http://schemas.microsoft.com/office/powerpoint/2010/main" val="36578938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  <p:sldLayoutId id="2147483681" r:id="rId13"/>
    <p:sldLayoutId id="2147483682" r:id="rId14"/>
    <p:sldLayoutId id="2147483683" r:id="rId15"/>
    <p:sldLayoutId id="2147483684" r:id="rId16"/>
    <p:sldLayoutId id="2147483685" r:id="rId17"/>
    <p:sldLayoutId id="2147483686" r:id="rId18"/>
  </p:sldLayoutIdLst>
  <p:transition/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ChevinBold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ChevinBold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ChevinBold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ChevinBold" pitchFamily="2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ChevinBold" pitchFamily="2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ChevinBold" pitchFamily="2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ChevinBold" pitchFamily="2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800">
          <a:solidFill>
            <a:schemeClr val="tx1"/>
          </a:solidFill>
          <a:latin typeface="ChevinBold" pitchFamily="2" charset="0"/>
        </a:defRPr>
      </a:lvl9pPr>
    </p:titleStyle>
    <p:bodyStyle>
      <a:lvl1pPr marL="225425" indent="-225425" algn="l" rtl="0" eaLnBrk="0" fontAlgn="base" hangingPunct="0">
        <a:lnSpc>
          <a:spcPct val="90000"/>
        </a:lnSpc>
        <a:spcBef>
          <a:spcPct val="30000"/>
        </a:spcBef>
        <a:spcAft>
          <a:spcPct val="20000"/>
        </a:spcAft>
        <a:buClr>
          <a:srgbClr val="DA202A"/>
        </a:buClr>
        <a:buChar char="•"/>
        <a:defRPr sz="26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indent="0" algn="l" rtl="0" eaLnBrk="0" fontAlgn="base" hangingPunct="0">
        <a:lnSpc>
          <a:spcPct val="90000"/>
        </a:lnSpc>
        <a:spcBef>
          <a:spcPct val="20000"/>
        </a:spcBef>
        <a:spcAft>
          <a:spcPct val="20000"/>
        </a:spcAft>
        <a:buClr>
          <a:srgbClr val="DA202A"/>
        </a:buClr>
        <a:buFont typeface="Arial" panose="020B0604020202020204" pitchFamily="34" charset="0"/>
        <a:buNone/>
        <a:defRPr sz="2200">
          <a:solidFill>
            <a:srgbClr val="DA202A"/>
          </a:solidFill>
          <a:latin typeface="Calibri" panose="020F0502020204030204" pitchFamily="34" charset="0"/>
          <a:cs typeface="Calibri" panose="020F0502020204030204" pitchFamily="34" charset="0"/>
        </a:defRPr>
      </a:lvl2pPr>
      <a:lvl3pPr marL="1084263" indent="-171450" algn="l" rtl="0" eaLnBrk="0" fontAlgn="base" hangingPunct="0">
        <a:lnSpc>
          <a:spcPct val="90000"/>
        </a:lnSpc>
        <a:spcBef>
          <a:spcPct val="30000"/>
        </a:spcBef>
        <a:spcAft>
          <a:spcPct val="20000"/>
        </a:spcAft>
        <a:buClr>
          <a:schemeClr val="tx2"/>
        </a:buClr>
        <a:buChar char="-"/>
        <a:defRPr sz="20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3pPr>
      <a:lvl4pPr marL="1428750" indent="-57150" algn="l" rtl="0" eaLnBrk="0" fontAlgn="base" hangingPunct="0">
        <a:lnSpc>
          <a:spcPct val="90000"/>
        </a:lnSpc>
        <a:spcBef>
          <a:spcPct val="30000"/>
        </a:spcBef>
        <a:spcAft>
          <a:spcPct val="20000"/>
        </a:spcAft>
        <a:defRPr>
          <a:solidFill>
            <a:schemeClr val="hlink"/>
          </a:solidFill>
          <a:latin typeface="Calibri" panose="020F0502020204030204" pitchFamily="34" charset="0"/>
          <a:cs typeface="Calibri" panose="020F0502020204030204" pitchFamily="34" charset="0"/>
        </a:defRPr>
      </a:lvl4pPr>
      <a:lvl5pPr marL="1773238" indent="1588" algn="l" rtl="0" eaLnBrk="0" fontAlgn="base" hangingPunct="0">
        <a:lnSpc>
          <a:spcPct val="90000"/>
        </a:lnSpc>
        <a:spcBef>
          <a:spcPct val="30000"/>
        </a:spcBef>
        <a:spcAft>
          <a:spcPct val="20000"/>
        </a:spcAft>
        <a:defRPr sz="160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5pPr>
      <a:lvl6pPr marL="2230438" indent="1588" algn="l" rtl="0" fontAlgn="base">
        <a:lnSpc>
          <a:spcPct val="90000"/>
        </a:lnSpc>
        <a:spcBef>
          <a:spcPct val="30000"/>
        </a:spcBef>
        <a:spcAft>
          <a:spcPct val="20000"/>
        </a:spcAft>
        <a:defRPr sz="1600">
          <a:solidFill>
            <a:schemeClr val="tx1"/>
          </a:solidFill>
          <a:latin typeface="ChevinExtraBold" pitchFamily="2" charset="0"/>
        </a:defRPr>
      </a:lvl6pPr>
      <a:lvl7pPr marL="2687638" indent="1588" algn="l" rtl="0" fontAlgn="base">
        <a:lnSpc>
          <a:spcPct val="90000"/>
        </a:lnSpc>
        <a:spcBef>
          <a:spcPct val="30000"/>
        </a:spcBef>
        <a:spcAft>
          <a:spcPct val="20000"/>
        </a:spcAft>
        <a:defRPr sz="1600">
          <a:solidFill>
            <a:schemeClr val="tx1"/>
          </a:solidFill>
          <a:latin typeface="ChevinExtraBold" pitchFamily="2" charset="0"/>
        </a:defRPr>
      </a:lvl7pPr>
      <a:lvl8pPr marL="3144838" indent="1588" algn="l" rtl="0" fontAlgn="base">
        <a:lnSpc>
          <a:spcPct val="90000"/>
        </a:lnSpc>
        <a:spcBef>
          <a:spcPct val="30000"/>
        </a:spcBef>
        <a:spcAft>
          <a:spcPct val="20000"/>
        </a:spcAft>
        <a:defRPr sz="1600">
          <a:solidFill>
            <a:schemeClr val="tx1"/>
          </a:solidFill>
          <a:latin typeface="ChevinExtraBold" pitchFamily="2" charset="0"/>
        </a:defRPr>
      </a:lvl8pPr>
      <a:lvl9pPr marL="3602038" indent="1588" algn="l" rtl="0" fontAlgn="base">
        <a:lnSpc>
          <a:spcPct val="90000"/>
        </a:lnSpc>
        <a:spcBef>
          <a:spcPct val="30000"/>
        </a:spcBef>
        <a:spcAft>
          <a:spcPct val="20000"/>
        </a:spcAft>
        <a:defRPr sz="1600">
          <a:solidFill>
            <a:schemeClr val="tx1"/>
          </a:solidFill>
          <a:latin typeface="ChevinExtraBold" pitchFamily="2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A8C0031-1C9D-4984-9FBD-ECBB02549CA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GB" sz="3200" dirty="0"/>
              <a:t>Peak 2023 Property Update 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D9661A54-90D6-40C1-B0C8-BEDFB5FE5C01}"/>
              </a:ext>
            </a:extLst>
          </p:cNvPr>
          <p:cNvSpPr/>
          <p:nvPr/>
        </p:nvSpPr>
        <p:spPr>
          <a:xfrm>
            <a:off x="72038" y="808271"/>
            <a:ext cx="2807495" cy="3665624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0F9DB24D-6BDA-4DD1-8808-EA756A65C921}"/>
              </a:ext>
            </a:extLst>
          </p:cNvPr>
          <p:cNvSpPr/>
          <p:nvPr/>
        </p:nvSpPr>
        <p:spPr>
          <a:xfrm>
            <a:off x="3046421" y="808271"/>
            <a:ext cx="2890837" cy="3271198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2D7A2CDA-24AC-46A0-A174-09099BA1E23A}"/>
              </a:ext>
            </a:extLst>
          </p:cNvPr>
          <p:cNvSpPr/>
          <p:nvPr/>
        </p:nvSpPr>
        <p:spPr>
          <a:xfrm>
            <a:off x="6117501" y="808270"/>
            <a:ext cx="2890837" cy="5407433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B175967-EED9-4239-AF39-8675D6F0BFB5}"/>
              </a:ext>
            </a:extLst>
          </p:cNvPr>
          <p:cNvSpPr txBox="1"/>
          <p:nvPr/>
        </p:nvSpPr>
        <p:spPr>
          <a:xfrm>
            <a:off x="72038" y="827915"/>
            <a:ext cx="27032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rgbClr val="C00000"/>
                </a:solidFill>
                <a:latin typeface="ChevinBold" panose="02000700000000000000" pitchFamily="2" charset="0"/>
              </a:rPr>
              <a:t>External Building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1445ADE-6FD4-4BE2-AE5E-A960DD29E9D2}"/>
              </a:ext>
            </a:extLst>
          </p:cNvPr>
          <p:cNvSpPr txBox="1"/>
          <p:nvPr/>
        </p:nvSpPr>
        <p:spPr>
          <a:xfrm>
            <a:off x="85619" y="3114639"/>
            <a:ext cx="3295651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dirty="0">
                <a:latin typeface="ChevinLight" panose="02000300000000000000" pitchFamily="2" charset="0"/>
              </a:rPr>
              <a:t>ELDC</a:t>
            </a:r>
            <a:r>
              <a:rPr lang="en-GB" sz="1400" dirty="0">
                <a:latin typeface="ChevinLight" panose="02000300000000000000" pitchFamily="2" charset="0"/>
              </a:rPr>
              <a:t> – Cross doc support for PRDC</a:t>
            </a:r>
          </a:p>
          <a:p>
            <a:r>
              <a:rPr lang="en-GB" sz="1400" b="1" dirty="0">
                <a:latin typeface="ChevinLight" panose="02000300000000000000" pitchFamily="2" charset="0"/>
              </a:rPr>
              <a:t>Tetris</a:t>
            </a:r>
            <a:r>
              <a:rPr lang="en-GB" sz="1400" dirty="0">
                <a:latin typeface="ChevinLight" panose="02000300000000000000" pitchFamily="2" charset="0"/>
              </a:rPr>
              <a:t> – Fit out for International and </a:t>
            </a:r>
          </a:p>
          <a:p>
            <a:r>
              <a:rPr lang="en-GB" sz="1400" dirty="0">
                <a:latin typeface="ChevinLight" panose="02000300000000000000" pitchFamily="2" charset="0"/>
              </a:rPr>
              <a:t>small element of Greenford inward. </a:t>
            </a:r>
          </a:p>
          <a:p>
            <a:r>
              <a:rPr lang="en-GB" sz="1400" b="1" dirty="0">
                <a:latin typeface="ChevinLight" panose="02000300000000000000" pitchFamily="2" charset="0"/>
              </a:rPr>
              <a:t>Bristol</a:t>
            </a:r>
            <a:r>
              <a:rPr lang="en-GB" sz="1400" dirty="0">
                <a:latin typeface="ChevinLight" panose="02000300000000000000" pitchFamily="2" charset="0"/>
              </a:rPr>
              <a:t> – South Wales </a:t>
            </a:r>
          </a:p>
          <a:p>
            <a:r>
              <a:rPr lang="en-GB" sz="1400" dirty="0">
                <a:latin typeface="ChevinLight" panose="02000300000000000000" pitchFamily="2" charset="0"/>
              </a:rPr>
              <a:t>            (previously a PSC)  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B1F0FB5-BE15-4FB5-B83B-B18E51687636}"/>
              </a:ext>
            </a:extLst>
          </p:cNvPr>
          <p:cNvSpPr txBox="1"/>
          <p:nvPr/>
        </p:nvSpPr>
        <p:spPr>
          <a:xfrm>
            <a:off x="3197536" y="830045"/>
            <a:ext cx="25098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rgbClr val="C00000"/>
                </a:solidFill>
                <a:latin typeface="ChevinBold" panose="02000700000000000000" pitchFamily="2" charset="0"/>
              </a:rPr>
              <a:t>Marquees</a:t>
            </a:r>
            <a:r>
              <a:rPr lang="en-GB" dirty="0"/>
              <a:t>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1AD9338-2D82-44F3-8662-B3C08E7438EC}"/>
              </a:ext>
            </a:extLst>
          </p:cNvPr>
          <p:cNvSpPr txBox="1"/>
          <p:nvPr/>
        </p:nvSpPr>
        <p:spPr>
          <a:xfrm>
            <a:off x="6304826" y="817334"/>
            <a:ext cx="25098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rgbClr val="C00000"/>
                </a:solidFill>
                <a:latin typeface="ChevinBold" panose="02000700000000000000" pitchFamily="2" charset="0"/>
              </a:rPr>
              <a:t>VOCs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949FFD72-C657-4876-B973-52F99768382F}"/>
              </a:ext>
            </a:extLst>
          </p:cNvPr>
          <p:cNvSpPr/>
          <p:nvPr/>
        </p:nvSpPr>
        <p:spPr>
          <a:xfrm>
            <a:off x="64896" y="4592958"/>
            <a:ext cx="2814637" cy="1607622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D91C46E-B99D-45A6-AC68-B32E7C8E9850}"/>
              </a:ext>
            </a:extLst>
          </p:cNvPr>
          <p:cNvSpPr txBox="1"/>
          <p:nvPr/>
        </p:nvSpPr>
        <p:spPr>
          <a:xfrm>
            <a:off x="3576" y="4583162"/>
            <a:ext cx="29372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rgbClr val="C00000"/>
                </a:solidFill>
                <a:latin typeface="ChevinBold" panose="02000700000000000000" pitchFamily="2" charset="0"/>
              </a:rPr>
              <a:t>PSCs</a:t>
            </a:r>
          </a:p>
          <a:p>
            <a:pPr algn="ctr"/>
            <a:r>
              <a:rPr lang="en-GB" sz="1100" dirty="0">
                <a:solidFill>
                  <a:srgbClr val="C00000"/>
                </a:solidFill>
                <a:latin typeface="ChevinBold" panose="02000700000000000000" pitchFamily="2" charset="0"/>
              </a:rPr>
              <a:t>All PSCs will be ready for service for       w/c 30</a:t>
            </a:r>
            <a:r>
              <a:rPr lang="en-GB" sz="1100" baseline="30000" dirty="0">
                <a:solidFill>
                  <a:srgbClr val="C00000"/>
                </a:solidFill>
                <a:latin typeface="ChevinBold" panose="02000700000000000000" pitchFamily="2" charset="0"/>
              </a:rPr>
              <a:t>th</a:t>
            </a:r>
            <a:r>
              <a:rPr lang="en-GB" sz="1100" dirty="0">
                <a:solidFill>
                  <a:srgbClr val="C00000"/>
                </a:solidFill>
                <a:latin typeface="ChevinBold" panose="02000700000000000000" pitchFamily="2" charset="0"/>
              </a:rPr>
              <a:t> October, should they be required.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DBEE6EC-016B-4BE6-9BE9-BD7823EA2785}"/>
              </a:ext>
            </a:extLst>
          </p:cNvPr>
          <p:cNvSpPr txBox="1"/>
          <p:nvPr/>
        </p:nvSpPr>
        <p:spPr>
          <a:xfrm>
            <a:off x="33663" y="2780271"/>
            <a:ext cx="28987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rgbClr val="C00000"/>
                </a:solidFill>
                <a:latin typeface="ChevinBold" panose="02000700000000000000" pitchFamily="2" charset="0"/>
              </a:rPr>
              <a:t>Internal Buildings 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BAC8EE1-0556-49BA-9DC7-0ED1D48B753B}"/>
              </a:ext>
            </a:extLst>
          </p:cNvPr>
          <p:cNvSpPr txBox="1"/>
          <p:nvPr/>
        </p:nvSpPr>
        <p:spPr>
          <a:xfrm>
            <a:off x="124881" y="1229302"/>
            <a:ext cx="2807495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dirty="0">
                <a:latin typeface="ChevinLight" panose="02000300000000000000" pitchFamily="2" charset="0"/>
              </a:rPr>
              <a:t>Sheffield</a:t>
            </a:r>
            <a:r>
              <a:rPr lang="en-GB" sz="1400" dirty="0">
                <a:latin typeface="ChevinLight" panose="02000300000000000000" pitchFamily="2" charset="0"/>
              </a:rPr>
              <a:t> – Manton, Existing site on longer lease. </a:t>
            </a:r>
          </a:p>
          <a:p>
            <a:r>
              <a:rPr lang="en-GB" sz="1400" b="1" dirty="0">
                <a:latin typeface="ChevinLight" panose="02000300000000000000" pitchFamily="2" charset="0"/>
              </a:rPr>
              <a:t>Norwich</a:t>
            </a:r>
            <a:r>
              <a:rPr lang="en-GB" sz="1400" dirty="0">
                <a:latin typeface="ChevinLight" panose="02000300000000000000" pitchFamily="2" charset="0"/>
              </a:rPr>
              <a:t> – New 3 month lease taken on a site in Vulcan Rd. </a:t>
            </a:r>
          </a:p>
          <a:p>
            <a:r>
              <a:rPr lang="en-GB" sz="1400" b="1" dirty="0">
                <a:latin typeface="ChevinLight" panose="02000300000000000000" pitchFamily="2" charset="0"/>
              </a:rPr>
              <a:t>Glasgow</a:t>
            </a:r>
            <a:r>
              <a:rPr lang="en-GB" sz="1400" dirty="0">
                <a:latin typeface="ChevinLight" panose="02000300000000000000" pitchFamily="2" charset="0"/>
              </a:rPr>
              <a:t> – Prestwick Airport</a:t>
            </a:r>
          </a:p>
          <a:p>
            <a:r>
              <a:rPr lang="en-GB" sz="1400" b="1" dirty="0">
                <a:latin typeface="ChevinLight" panose="02000300000000000000" pitchFamily="2" charset="0"/>
              </a:rPr>
              <a:t>East Of Scotland</a:t>
            </a:r>
            <a:r>
              <a:rPr lang="en-GB" sz="1400" dirty="0">
                <a:latin typeface="ChevinLight" panose="02000300000000000000" pitchFamily="2" charset="0"/>
              </a:rPr>
              <a:t> – Royal Highland Show Ground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987C800-FA1E-4A3E-9E74-8E318307C855}"/>
              </a:ext>
            </a:extLst>
          </p:cNvPr>
          <p:cNvSpPr txBox="1"/>
          <p:nvPr/>
        </p:nvSpPr>
        <p:spPr>
          <a:xfrm>
            <a:off x="139202" y="5274959"/>
            <a:ext cx="273215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latin typeface="ChevinLight" panose="02000300000000000000" pitchFamily="2" charset="0"/>
              </a:rPr>
              <a:t>Northampton PSC</a:t>
            </a:r>
          </a:p>
          <a:p>
            <a:r>
              <a:rPr lang="en-GB" sz="1400" dirty="0">
                <a:latin typeface="ChevinLight" panose="02000300000000000000" pitchFamily="2" charset="0"/>
              </a:rPr>
              <a:t>Milton Keynes PSC</a:t>
            </a:r>
          </a:p>
          <a:p>
            <a:r>
              <a:rPr lang="en-GB" sz="1400" dirty="0">
                <a:latin typeface="ChevinLight" panose="02000300000000000000" pitchFamily="2" charset="0"/>
              </a:rPr>
              <a:t>Atherstone (ramp up for peak)</a:t>
            </a:r>
          </a:p>
          <a:p>
            <a:r>
              <a:rPr lang="en-GB" sz="1400" dirty="0">
                <a:latin typeface="ChevinLight" panose="02000300000000000000" pitchFamily="2" charset="0"/>
              </a:rPr>
              <a:t>NDC 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40F4767C-C52F-41B9-908F-4D23FE6D1AD8}"/>
              </a:ext>
            </a:extLst>
          </p:cNvPr>
          <p:cNvSpPr/>
          <p:nvPr/>
        </p:nvSpPr>
        <p:spPr>
          <a:xfrm>
            <a:off x="3019830" y="4185856"/>
            <a:ext cx="2890837" cy="2029849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63DB570-E48A-4275-8181-8B90659EFBB8}"/>
              </a:ext>
            </a:extLst>
          </p:cNvPr>
          <p:cNvSpPr txBox="1"/>
          <p:nvPr/>
        </p:nvSpPr>
        <p:spPr>
          <a:xfrm>
            <a:off x="3210329" y="4236143"/>
            <a:ext cx="25098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rgbClr val="C00000"/>
                </a:solidFill>
                <a:latin typeface="ChevinBold" panose="02000700000000000000" pitchFamily="2" charset="0"/>
              </a:rPr>
              <a:t>Reductions from 2022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22F8576-1F78-4145-BDE5-4DAE75D75476}"/>
              </a:ext>
            </a:extLst>
          </p:cNvPr>
          <p:cNvSpPr txBox="1"/>
          <p:nvPr/>
        </p:nvSpPr>
        <p:spPr>
          <a:xfrm>
            <a:off x="3169858" y="1197247"/>
            <a:ext cx="1321981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rgbClr val="C00000"/>
                </a:solidFill>
                <a:latin typeface="ChevinBold" panose="02000700000000000000" pitchFamily="2" charset="0"/>
              </a:rPr>
              <a:t>South </a:t>
            </a:r>
          </a:p>
          <a:p>
            <a:r>
              <a:rPr lang="en-GB" sz="1400" dirty="0">
                <a:latin typeface="ChevinLight" panose="02000300000000000000" pitchFamily="2" charset="0"/>
              </a:rPr>
              <a:t>Croydon </a:t>
            </a:r>
          </a:p>
          <a:p>
            <a:r>
              <a:rPr lang="en-GB" sz="1400" dirty="0">
                <a:latin typeface="ChevinLight" panose="02000300000000000000" pitchFamily="2" charset="0"/>
              </a:rPr>
              <a:t>Medway </a:t>
            </a:r>
          </a:p>
          <a:p>
            <a:r>
              <a:rPr lang="en-GB" sz="1400" dirty="0">
                <a:latin typeface="ChevinLight" panose="02000300000000000000" pitchFamily="2" charset="0"/>
              </a:rPr>
              <a:t>Dorset </a:t>
            </a:r>
          </a:p>
          <a:p>
            <a:r>
              <a:rPr lang="en-GB" sz="1400" dirty="0">
                <a:latin typeface="ChevinLight" panose="02000300000000000000" pitchFamily="2" charset="0"/>
              </a:rPr>
              <a:t>Exeter </a:t>
            </a:r>
          </a:p>
          <a:p>
            <a:r>
              <a:rPr lang="en-GB" sz="1400" dirty="0">
                <a:latin typeface="ChevinLight" panose="02000300000000000000" pitchFamily="2" charset="0"/>
              </a:rPr>
              <a:t>Truro</a:t>
            </a:r>
          </a:p>
          <a:p>
            <a:r>
              <a:rPr lang="en-GB" sz="1400" dirty="0">
                <a:latin typeface="ChevinLight" panose="02000300000000000000" pitchFamily="2" charset="0"/>
              </a:rPr>
              <a:t>Swindon </a:t>
            </a:r>
          </a:p>
          <a:p>
            <a:r>
              <a:rPr lang="en-GB" sz="1400" dirty="0">
                <a:latin typeface="ChevinLight" panose="02000300000000000000" pitchFamily="2" charset="0"/>
              </a:rPr>
              <a:t>Southampton </a:t>
            </a:r>
          </a:p>
          <a:p>
            <a:r>
              <a:rPr lang="en-GB" sz="1400" dirty="0">
                <a:latin typeface="ChevinLight" panose="02000300000000000000" pitchFamily="2" charset="0"/>
              </a:rPr>
              <a:t>South Midlands</a:t>
            </a:r>
          </a:p>
          <a:p>
            <a:r>
              <a:rPr lang="en-GB" sz="1400" dirty="0">
                <a:latin typeface="ChevinLight" panose="02000300000000000000" pitchFamily="2" charset="0"/>
              </a:rPr>
              <a:t>Romford </a:t>
            </a:r>
          </a:p>
          <a:p>
            <a:r>
              <a:rPr lang="en-GB" sz="1400" dirty="0">
                <a:latin typeface="ChevinLight" panose="02000300000000000000" pitchFamily="2" charset="0"/>
              </a:rPr>
              <a:t>Jubilee </a:t>
            </a:r>
          </a:p>
          <a:p>
            <a:endParaRPr lang="en-GB" sz="1400" dirty="0">
              <a:latin typeface="ChevinLight" panose="02000300000000000000" pitchFamily="2" charset="0"/>
            </a:endParaRPr>
          </a:p>
          <a:p>
            <a:endParaRPr lang="en-GB" sz="1400" dirty="0">
              <a:latin typeface="ChevinLight" panose="02000300000000000000" pitchFamily="2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CD880A6-429A-473A-AE60-A5E0811EAF76}"/>
              </a:ext>
            </a:extLst>
          </p:cNvPr>
          <p:cNvSpPr txBox="1"/>
          <p:nvPr/>
        </p:nvSpPr>
        <p:spPr>
          <a:xfrm>
            <a:off x="6166449" y="1142152"/>
            <a:ext cx="2979130" cy="56938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dirty="0">
                <a:latin typeface="ChevinLight" panose="02000300000000000000" pitchFamily="2" charset="0"/>
              </a:rPr>
              <a:t>HWDC</a:t>
            </a:r>
            <a:r>
              <a:rPr lang="en-GB" sz="1400" dirty="0">
                <a:latin typeface="ChevinLight" panose="02000300000000000000" pitchFamily="2" charset="0"/>
              </a:rPr>
              <a:t> – site has been found, working through costings and legal etc.</a:t>
            </a:r>
          </a:p>
          <a:p>
            <a:r>
              <a:rPr lang="en-GB" sz="1400" b="1" dirty="0">
                <a:latin typeface="ChevinLight" panose="02000300000000000000" pitchFamily="2" charset="0"/>
              </a:rPr>
              <a:t>PRDC</a:t>
            </a:r>
            <a:r>
              <a:rPr lang="en-GB" sz="1400" dirty="0">
                <a:latin typeface="ChevinLight" panose="02000300000000000000" pitchFamily="2" charset="0"/>
              </a:rPr>
              <a:t> – Site sourced, going through legal etc. </a:t>
            </a:r>
          </a:p>
          <a:p>
            <a:r>
              <a:rPr lang="en-GB" sz="1400" b="1" dirty="0">
                <a:latin typeface="ChevinLight" panose="02000300000000000000" pitchFamily="2" charset="0"/>
              </a:rPr>
              <a:t>SWDC</a:t>
            </a:r>
            <a:r>
              <a:rPr lang="en-GB" sz="1400" dirty="0">
                <a:latin typeface="ChevinLight" panose="02000300000000000000" pitchFamily="2" charset="0"/>
              </a:rPr>
              <a:t> – LTL same site as 2022. </a:t>
            </a:r>
          </a:p>
          <a:p>
            <a:r>
              <a:rPr lang="en-GB" sz="1400" b="1" dirty="0">
                <a:latin typeface="ChevinLight" panose="02000300000000000000" pitchFamily="2" charset="0"/>
              </a:rPr>
              <a:t>ELDC</a:t>
            </a:r>
            <a:r>
              <a:rPr lang="en-GB" sz="1400" dirty="0">
                <a:latin typeface="ChevinLight" panose="02000300000000000000" pitchFamily="2" charset="0"/>
              </a:rPr>
              <a:t> – BAU site. </a:t>
            </a:r>
          </a:p>
          <a:p>
            <a:r>
              <a:rPr lang="en-GB" sz="1400" b="1" dirty="0">
                <a:latin typeface="ChevinLight" panose="02000300000000000000" pitchFamily="2" charset="0"/>
              </a:rPr>
              <a:t>Coventry – </a:t>
            </a:r>
            <a:r>
              <a:rPr lang="en-GB" sz="1400" dirty="0">
                <a:latin typeface="ChevinLight" panose="02000300000000000000" pitchFamily="2" charset="0"/>
              </a:rPr>
              <a:t>External site sourced, currently at legal</a:t>
            </a:r>
          </a:p>
          <a:p>
            <a:r>
              <a:rPr lang="en-GB" sz="1400" b="1" dirty="0">
                <a:latin typeface="ChevinLight" panose="02000300000000000000" pitchFamily="2" charset="0"/>
              </a:rPr>
              <a:t>Edinburgh – </a:t>
            </a:r>
            <a:r>
              <a:rPr lang="en-GB" sz="1400" dirty="0">
                <a:latin typeface="ChevinLight" panose="02000300000000000000" pitchFamily="2" charset="0"/>
              </a:rPr>
              <a:t>Royal Highland Showground</a:t>
            </a:r>
          </a:p>
          <a:p>
            <a:r>
              <a:rPr lang="en-GB" sz="1400" b="1" dirty="0">
                <a:latin typeface="ChevinLight" panose="02000300000000000000" pitchFamily="2" charset="0"/>
              </a:rPr>
              <a:t>NE</a:t>
            </a:r>
            <a:r>
              <a:rPr lang="en-GB" sz="1400" dirty="0">
                <a:latin typeface="ChevinLight" panose="02000300000000000000" pitchFamily="2" charset="0"/>
              </a:rPr>
              <a:t> – Peterlee, </a:t>
            </a:r>
          </a:p>
          <a:p>
            <a:r>
              <a:rPr lang="en-GB" sz="1400" dirty="0">
                <a:latin typeface="ChevinLight" panose="02000300000000000000" pitchFamily="2" charset="0"/>
              </a:rPr>
              <a:t>existing BAU Site.  </a:t>
            </a:r>
          </a:p>
          <a:p>
            <a:r>
              <a:rPr lang="en-GB" sz="1400" b="1" dirty="0">
                <a:latin typeface="ChevinLight" panose="02000300000000000000" pitchFamily="2" charset="0"/>
              </a:rPr>
              <a:t>SDC</a:t>
            </a:r>
            <a:r>
              <a:rPr lang="en-GB" sz="1400" dirty="0">
                <a:latin typeface="ChevinLight" panose="02000300000000000000" pitchFamily="2" charset="0"/>
              </a:rPr>
              <a:t> – External site in Wishaw sourced. </a:t>
            </a:r>
          </a:p>
          <a:p>
            <a:r>
              <a:rPr lang="en-GB" sz="1400" b="1" dirty="0">
                <a:latin typeface="ChevinLight" panose="02000300000000000000" pitchFamily="2" charset="0"/>
              </a:rPr>
              <a:t>WRT</a:t>
            </a:r>
            <a:r>
              <a:rPr lang="en-GB" sz="1400" dirty="0">
                <a:latin typeface="ChevinLight" panose="02000300000000000000" pitchFamily="2" charset="0"/>
              </a:rPr>
              <a:t> – Alternations</a:t>
            </a:r>
          </a:p>
          <a:p>
            <a:r>
              <a:rPr lang="en-GB" sz="1400" dirty="0">
                <a:latin typeface="ChevinLight" panose="02000300000000000000" pitchFamily="2" charset="0"/>
              </a:rPr>
              <a:t> to current rail terminal site. </a:t>
            </a:r>
          </a:p>
          <a:p>
            <a:r>
              <a:rPr lang="en-GB" sz="1400" b="1" dirty="0">
                <a:latin typeface="ChevinLight" panose="02000300000000000000" pitchFamily="2" charset="0"/>
              </a:rPr>
              <a:t>NI</a:t>
            </a:r>
            <a:r>
              <a:rPr lang="en-GB" sz="1400" dirty="0">
                <a:latin typeface="ChevinLight" panose="02000300000000000000" pitchFamily="2" charset="0"/>
              </a:rPr>
              <a:t> – External site </a:t>
            </a:r>
          </a:p>
          <a:p>
            <a:r>
              <a:rPr lang="en-GB" sz="1400" dirty="0">
                <a:latin typeface="ChevinLight" panose="02000300000000000000" pitchFamily="2" charset="0"/>
              </a:rPr>
              <a:t>secured. </a:t>
            </a:r>
          </a:p>
          <a:p>
            <a:r>
              <a:rPr lang="en-GB" sz="1400" b="1" dirty="0">
                <a:latin typeface="ChevinLight" panose="02000300000000000000" pitchFamily="2" charset="0"/>
              </a:rPr>
              <a:t>Leeds</a:t>
            </a:r>
            <a:r>
              <a:rPr lang="en-GB" sz="1400" dirty="0">
                <a:latin typeface="ChevinLight" panose="02000300000000000000" pitchFamily="2" charset="0"/>
              </a:rPr>
              <a:t> – extension to the current BAU site</a:t>
            </a:r>
          </a:p>
          <a:p>
            <a:endParaRPr lang="en-GB" sz="1400" dirty="0">
              <a:latin typeface="ChevinLight" panose="02000300000000000000" pitchFamily="2" charset="0"/>
            </a:endParaRPr>
          </a:p>
          <a:p>
            <a:r>
              <a:rPr lang="en-GB" sz="1400" b="1" dirty="0">
                <a:latin typeface="ChevinLight" panose="02000300000000000000" pitchFamily="2" charset="0"/>
              </a:rPr>
              <a:t>Still waiting on a number </a:t>
            </a:r>
          </a:p>
          <a:p>
            <a:r>
              <a:rPr lang="en-GB" sz="1400" b="1" dirty="0">
                <a:latin typeface="ChevinLight" panose="02000300000000000000" pitchFamily="2" charset="0"/>
              </a:rPr>
              <a:t>of </a:t>
            </a:r>
            <a:r>
              <a:rPr lang="en-GB" sz="1400" b="1" dirty="0" err="1">
                <a:latin typeface="ChevinLight" panose="02000300000000000000" pitchFamily="2" charset="0"/>
              </a:rPr>
              <a:t>O’Licences</a:t>
            </a:r>
            <a:endParaRPr lang="en-GB" sz="1400" b="1" dirty="0">
              <a:latin typeface="ChevinLight" panose="02000300000000000000" pitchFamily="2" charset="0"/>
            </a:endParaRPr>
          </a:p>
          <a:p>
            <a:endParaRPr lang="en-GB" sz="1400" dirty="0">
              <a:latin typeface="ChevinLight" panose="02000300000000000000" pitchFamily="2" charset="0"/>
            </a:endParaRPr>
          </a:p>
          <a:p>
            <a:endParaRPr lang="en-GB" sz="1400" dirty="0">
              <a:latin typeface="ChevinLight" panose="02000300000000000000" pitchFamily="2" charset="0"/>
            </a:endParaRPr>
          </a:p>
          <a:p>
            <a:endParaRPr lang="en-GB" sz="1400" dirty="0">
              <a:latin typeface="ChevinLight" panose="02000300000000000000" pitchFamily="2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D03EEE1-69E2-4F86-8E69-171BDB60B017}"/>
              </a:ext>
            </a:extLst>
          </p:cNvPr>
          <p:cNvSpPr txBox="1"/>
          <p:nvPr/>
        </p:nvSpPr>
        <p:spPr>
          <a:xfrm>
            <a:off x="4762849" y="1233331"/>
            <a:ext cx="108364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rgbClr val="C00000"/>
                </a:solidFill>
                <a:latin typeface="ChevinBold" panose="02000700000000000000" pitchFamily="2" charset="0"/>
              </a:rPr>
              <a:t>North </a:t>
            </a:r>
          </a:p>
          <a:p>
            <a:r>
              <a:rPr lang="en-GB" sz="1400" dirty="0">
                <a:latin typeface="ChevinLight" panose="02000300000000000000" pitchFamily="2" charset="0"/>
              </a:rPr>
              <a:t>Swansea</a:t>
            </a:r>
          </a:p>
          <a:p>
            <a:r>
              <a:rPr lang="en-GB" sz="1400" dirty="0">
                <a:latin typeface="ChevinLight" panose="02000300000000000000" pitchFamily="2" charset="0"/>
              </a:rPr>
              <a:t>Tyneside</a:t>
            </a:r>
          </a:p>
          <a:p>
            <a:r>
              <a:rPr lang="en-GB" sz="1400" dirty="0">
                <a:latin typeface="ChevinLight" panose="02000300000000000000" pitchFamily="2" charset="0"/>
              </a:rPr>
              <a:t>Carlisle </a:t>
            </a:r>
          </a:p>
          <a:p>
            <a:r>
              <a:rPr lang="en-GB" sz="1400" dirty="0">
                <a:latin typeface="ChevinLight" panose="02000300000000000000" pitchFamily="2" charset="0"/>
              </a:rPr>
              <a:t>Nottingham </a:t>
            </a:r>
          </a:p>
          <a:p>
            <a:r>
              <a:rPr lang="en-GB" sz="1400" dirty="0">
                <a:latin typeface="ChevinLight" panose="02000300000000000000" pitchFamily="2" charset="0"/>
              </a:rPr>
              <a:t>Inverness</a:t>
            </a:r>
          </a:p>
          <a:p>
            <a:r>
              <a:rPr lang="en-GB" sz="1400" dirty="0">
                <a:latin typeface="ChevinLight" panose="02000300000000000000" pitchFamily="2" charset="0"/>
              </a:rPr>
              <a:t>Glasgow</a:t>
            </a:r>
          </a:p>
          <a:p>
            <a:r>
              <a:rPr lang="en-GB" sz="1400" dirty="0">
                <a:latin typeface="ChevinLight" panose="02000300000000000000" pitchFamily="2" charset="0"/>
              </a:rPr>
              <a:t>Edinburgh </a:t>
            </a:r>
            <a:r>
              <a:rPr lang="en-GB" sz="1800" dirty="0">
                <a:latin typeface="ChevinLight" panose="02000300000000000000" pitchFamily="2" charset="0"/>
              </a:rPr>
              <a:t>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C027A14-0140-4655-8374-09973D411D1E}"/>
              </a:ext>
            </a:extLst>
          </p:cNvPr>
          <p:cNvSpPr txBox="1"/>
          <p:nvPr/>
        </p:nvSpPr>
        <p:spPr>
          <a:xfrm>
            <a:off x="3124263" y="4718622"/>
            <a:ext cx="2791122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latin typeface="ChevinLight" panose="02000300000000000000" pitchFamily="2" charset="0"/>
              </a:rPr>
              <a:t>Reduction in marque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ChevinLight" panose="02000300000000000000" pitchFamily="2" charset="0"/>
              </a:rPr>
              <a:t>Birmingham, Swindon, Nottingham, Chester, Manchester, Peterborough</a:t>
            </a:r>
          </a:p>
          <a:p>
            <a:r>
              <a:rPr lang="en-GB" sz="1400" dirty="0">
                <a:latin typeface="ChevinLight" panose="02000300000000000000" pitchFamily="2" charset="0"/>
              </a:rPr>
              <a:t>Reduction in marquee lease hire periods. </a:t>
            </a:r>
          </a:p>
          <a:p>
            <a:r>
              <a:rPr lang="en-GB" sz="1400" dirty="0">
                <a:latin typeface="ChevinLight" panose="02000300000000000000" pitchFamily="2" charset="0"/>
              </a:rPr>
              <a:t>Reduction in external OH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ChevinLight" panose="02000300000000000000" pitchFamily="2" charset="0"/>
              </a:rPr>
              <a:t>Tyneside 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693077C1-1EE0-4734-BC89-0FACC74D74FD}"/>
              </a:ext>
            </a:extLst>
          </p:cNvPr>
          <p:cNvSpPr/>
          <p:nvPr/>
        </p:nvSpPr>
        <p:spPr>
          <a:xfrm>
            <a:off x="9154780" y="323850"/>
            <a:ext cx="2912339" cy="5891855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800" dirty="0">
                <a:latin typeface="ChevinLight" panose="02000300000000000000" pitchFamily="2" charset="0"/>
              </a:rPr>
              <a:t>East of England East of England OH requirement is not confirmed, waiting for RHSG to come back to us. Searches still ongoing but nothing suitable on the market</a:t>
            </a:r>
            <a:r>
              <a:rPr lang="en-GB" dirty="0"/>
              <a:t>. </a:t>
            </a:r>
          </a:p>
          <a:p>
            <a:r>
              <a:rPr lang="en-GB" sz="1800" dirty="0">
                <a:latin typeface="ChevinLight" panose="02000300000000000000" pitchFamily="2" charset="0"/>
              </a:rPr>
              <a:t>OH requirement is not confirmed, waiting for RHSG to come back to us. Searches still ongoing but nothing suitable on the market</a:t>
            </a:r>
            <a:r>
              <a:rPr lang="en-GB" dirty="0"/>
              <a:t>.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C35D6E9-F0D2-4572-AF3C-0CF60B0A121A}"/>
              </a:ext>
            </a:extLst>
          </p:cNvPr>
          <p:cNvSpPr txBox="1"/>
          <p:nvPr/>
        </p:nvSpPr>
        <p:spPr>
          <a:xfrm>
            <a:off x="9374049" y="323850"/>
            <a:ext cx="25098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rgbClr val="C00000"/>
                </a:solidFill>
                <a:latin typeface="ChevinBold" panose="02000700000000000000" pitchFamily="2" charset="0"/>
              </a:rPr>
              <a:t>Risks/Mitigation 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05D1D11-7308-47CA-8376-46C9DBEDA47A}"/>
              </a:ext>
            </a:extLst>
          </p:cNvPr>
          <p:cNvSpPr txBox="1"/>
          <p:nvPr/>
        </p:nvSpPr>
        <p:spPr>
          <a:xfrm>
            <a:off x="9248984" y="752123"/>
            <a:ext cx="2876302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b="1" dirty="0">
                <a:latin typeface="ChevinLight" panose="02000300000000000000" pitchFamily="2" charset="0"/>
              </a:rPr>
              <a:t>East of Scotland OH</a:t>
            </a:r>
          </a:p>
          <a:p>
            <a:r>
              <a:rPr lang="en-GB" sz="1400" dirty="0">
                <a:latin typeface="ChevinLight" panose="02000300000000000000" pitchFamily="2" charset="0"/>
              </a:rPr>
              <a:t>Royal Highland Showground as now been secured, however go live is not until the 27</a:t>
            </a:r>
            <a:r>
              <a:rPr lang="en-GB" sz="1400" baseline="30000" dirty="0">
                <a:latin typeface="ChevinLight" panose="02000300000000000000" pitchFamily="2" charset="0"/>
              </a:rPr>
              <a:t>th</a:t>
            </a:r>
            <a:r>
              <a:rPr lang="en-GB" sz="1400" dirty="0">
                <a:latin typeface="ChevinLight" panose="02000300000000000000" pitchFamily="2" charset="0"/>
              </a:rPr>
              <a:t> November. Weekly calls taking place to agree and implement other solutions to support Edinburgh with space and flow issues. </a:t>
            </a:r>
          </a:p>
          <a:p>
            <a:r>
              <a:rPr lang="en-GB" sz="1400" dirty="0">
                <a:latin typeface="ChevinLight" panose="02000300000000000000" pitchFamily="2" charset="0"/>
              </a:rPr>
              <a:t>Direct Services, use of SDC, support from mail centres/hub in terms of further breakdowns, support from the air unit around presentation,2c Divert, Marque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b="1" dirty="0">
                <a:latin typeface="ChevinLight" panose="02000300000000000000" pitchFamily="2" charset="0"/>
              </a:rPr>
              <a:t>Bristol OH </a:t>
            </a:r>
          </a:p>
          <a:p>
            <a:r>
              <a:rPr lang="en-GB" sz="1400" dirty="0">
                <a:latin typeface="ChevinLight" panose="02000300000000000000" pitchFamily="2" charset="0"/>
              </a:rPr>
              <a:t>Unable to source a suitable external OH, so the pervious SWPSC is going to be used. Several calls on a weekly basis to agree and implement different solutions. </a:t>
            </a:r>
          </a:p>
          <a:p>
            <a:r>
              <a:rPr lang="en-GB" sz="1400" dirty="0">
                <a:latin typeface="ChevinLight" panose="02000300000000000000" pitchFamily="2" charset="0"/>
              </a:rPr>
              <a:t>2c large diverts, 2c small divert, further direct to DO breakdown from hubs and PSCs on large, direct services to OH, raw collection diverts, better UTR from collection h</a:t>
            </a:r>
          </a:p>
        </p:txBody>
      </p:sp>
    </p:spTree>
    <p:extLst>
      <p:ext uri="{BB962C8B-B14F-4D97-AF65-F5344CB8AC3E}">
        <p14:creationId xmlns:p14="http://schemas.microsoft.com/office/powerpoint/2010/main" val="35259255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0_Accenture aug2016">
  <a:themeElements>
    <a:clrScheme name="Custom 4">
      <a:dk1>
        <a:srgbClr val="000000"/>
      </a:dk1>
      <a:lt1>
        <a:srgbClr val="FFFFFF"/>
      </a:lt1>
      <a:dk2>
        <a:srgbClr val="919191"/>
      </a:dk2>
      <a:lt2>
        <a:srgbClr val="FF0000"/>
      </a:lt2>
      <a:accent1>
        <a:srgbClr val="FF9128"/>
      </a:accent1>
      <a:accent2>
        <a:srgbClr val="BC001D"/>
      </a:accent2>
      <a:accent3>
        <a:srgbClr val="710011"/>
      </a:accent3>
      <a:accent4>
        <a:srgbClr val="7F7F7F"/>
      </a:accent4>
      <a:accent5>
        <a:srgbClr val="FFBD7D"/>
      </a:accent5>
      <a:accent6>
        <a:srgbClr val="484848"/>
      </a:accent6>
      <a:hlink>
        <a:srgbClr val="FFFF00"/>
      </a:hlink>
      <a:folHlink>
        <a:srgbClr val="5F5F5F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>
          <a:noFill/>
        </a:ln>
        <a:effectLst/>
      </a:spPr>
      <a:bodyPr rtlCol="0" anchor="t"/>
      <a:lstStyle>
        <a:defPPr algn="l" defTabSz="815237">
          <a:defRPr sz="700" b="1" dirty="0">
            <a:solidFill>
              <a:srgbClr val="000000"/>
            </a:solidFill>
            <a:latin typeface="Calibri" panose="020F0502020204030204" pitchFamily="34" charset="0"/>
            <a:cs typeface="Calibri" panose="020F0502020204030204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/>
      <a:bodyPr vert="horz" wrap="square" lIns="36000" tIns="36000" rIns="36000" bIns="36000" rtlCol="0">
        <a:noAutofit/>
      </a:bodyPr>
      <a:lstStyle>
        <a:defPPr algn="l">
          <a:defRPr sz="800" dirty="0" err="1">
            <a:latin typeface="Calibri" panose="020F0502020204030204" pitchFamily="34" charset="0"/>
            <a:cs typeface="Calibri" panose="020F0502020204030204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Special Events Design">
  <a:themeElements>
    <a:clrScheme name="~9015398 1">
      <a:dk1>
        <a:srgbClr val="000000"/>
      </a:dk1>
      <a:lt1>
        <a:srgbClr val="FFFFFF"/>
      </a:lt1>
      <a:dk2>
        <a:srgbClr val="FF0000"/>
      </a:dk2>
      <a:lt2>
        <a:srgbClr val="007E5F"/>
      </a:lt2>
      <a:accent1>
        <a:srgbClr val="204A91"/>
      </a:accent1>
      <a:accent2>
        <a:srgbClr val="FF0000"/>
      </a:accent2>
      <a:accent3>
        <a:srgbClr val="FFFFFF"/>
      </a:accent3>
      <a:accent4>
        <a:srgbClr val="000000"/>
      </a:accent4>
      <a:accent5>
        <a:srgbClr val="ABB1C7"/>
      </a:accent5>
      <a:accent6>
        <a:srgbClr val="E70000"/>
      </a:accent6>
      <a:hlink>
        <a:srgbClr val="666666"/>
      </a:hlink>
      <a:folHlink>
        <a:srgbClr val="DDDDDD"/>
      </a:folHlink>
    </a:clrScheme>
    <a:fontScheme name="~9015398">
      <a:majorFont>
        <a:latin typeface="ChevinBold"/>
        <a:ea typeface=""/>
        <a:cs typeface=""/>
      </a:majorFont>
      <a:minorFont>
        <a:latin typeface="Chevin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7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smtClean="0">
            <a:ln>
              <a:noFill/>
            </a:ln>
            <a:solidFill>
              <a:srgbClr val="FF000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~9015398 1">
        <a:dk1>
          <a:srgbClr val="000000"/>
        </a:dk1>
        <a:lt1>
          <a:srgbClr val="FFFFFF"/>
        </a:lt1>
        <a:dk2>
          <a:srgbClr val="FF0000"/>
        </a:dk2>
        <a:lt2>
          <a:srgbClr val="007E5F"/>
        </a:lt2>
        <a:accent1>
          <a:srgbClr val="204A91"/>
        </a:accent1>
        <a:accent2>
          <a:srgbClr val="FF0000"/>
        </a:accent2>
        <a:accent3>
          <a:srgbClr val="FFFFFF"/>
        </a:accent3>
        <a:accent4>
          <a:srgbClr val="000000"/>
        </a:accent4>
        <a:accent5>
          <a:srgbClr val="ABB1C7"/>
        </a:accent5>
        <a:accent6>
          <a:srgbClr val="E70000"/>
        </a:accent6>
        <a:hlink>
          <a:srgbClr val="666666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218</TotalTime>
  <Words>455</Words>
  <Application>Microsoft Office PowerPoint</Application>
  <PresentationFormat>Widescreen</PresentationFormat>
  <Paragraphs>7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Arial</vt:lpstr>
      <vt:lpstr>Arial Black</vt:lpstr>
      <vt:lpstr>Calibri</vt:lpstr>
      <vt:lpstr>ChevinBold</vt:lpstr>
      <vt:lpstr>ChevinExtraBold</vt:lpstr>
      <vt:lpstr>ChevinLight</vt:lpstr>
      <vt:lpstr>1_Office Theme</vt:lpstr>
      <vt:lpstr>10_Accenture aug2016</vt:lpstr>
      <vt:lpstr>Special Events Design</vt:lpstr>
      <vt:lpstr>think-cell Slide</vt:lpstr>
      <vt:lpstr>PowerPoint Presentation</vt:lpstr>
    </vt:vector>
  </TitlesOfParts>
  <Company>Royal Mail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lpeshkumar Mahendra</dc:creator>
  <cp:lastModifiedBy>Leanne Garner</cp:lastModifiedBy>
  <cp:revision>337</cp:revision>
  <cp:lastPrinted>2023-07-14T11:01:27Z</cp:lastPrinted>
  <dcterms:created xsi:type="dcterms:W3CDTF">2023-06-19T10:29:17Z</dcterms:created>
  <dcterms:modified xsi:type="dcterms:W3CDTF">2023-11-02T15:35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80f36f3-41a5-4f45-a6a2-e224f336accd_Enabled">
    <vt:lpwstr>true</vt:lpwstr>
  </property>
  <property fmtid="{D5CDD505-2E9C-101B-9397-08002B2CF9AE}" pid="3" name="MSIP_Label_980f36f3-41a5-4f45-a6a2-e224f336accd_SetDate">
    <vt:lpwstr>2023-11-02T15:35:21Z</vt:lpwstr>
  </property>
  <property fmtid="{D5CDD505-2E9C-101B-9397-08002B2CF9AE}" pid="4" name="MSIP_Label_980f36f3-41a5-4f45-a6a2-e224f336accd_Method">
    <vt:lpwstr>Standard</vt:lpwstr>
  </property>
  <property fmtid="{D5CDD505-2E9C-101B-9397-08002B2CF9AE}" pid="5" name="MSIP_Label_980f36f3-41a5-4f45-a6a2-e224f336accd_Name">
    <vt:lpwstr>980f36f3-41a5-4f45-a6a2-e224f336accd</vt:lpwstr>
  </property>
  <property fmtid="{D5CDD505-2E9C-101B-9397-08002B2CF9AE}" pid="6" name="MSIP_Label_980f36f3-41a5-4f45-a6a2-e224f336accd_SiteId">
    <vt:lpwstr>7a082108-90dd-41ac-be41-9b8feabee2da</vt:lpwstr>
  </property>
  <property fmtid="{D5CDD505-2E9C-101B-9397-08002B2CF9AE}" pid="7" name="MSIP_Label_980f36f3-41a5-4f45-a6a2-e224f336accd_ActionId">
    <vt:lpwstr>25c5a78e-4844-4def-a4cb-595ad183bf3c</vt:lpwstr>
  </property>
  <property fmtid="{D5CDD505-2E9C-101B-9397-08002B2CF9AE}" pid="8" name="MSIP_Label_980f36f3-41a5-4f45-a6a2-e224f336accd_ContentBits">
    <vt:lpwstr>2</vt:lpwstr>
  </property>
</Properties>
</file>